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2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DEC189-C28C-4C2C-B1C0-A68826B8C811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615107-2437-4E3C-9821-E88B689C8F7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554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267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23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35716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9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6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233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76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674856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11">
            <a:extLst>
              <a:ext uri="{FF2B5EF4-FFF2-40B4-BE49-F238E27FC236}">
                <a16:creationId xmlns:a16="http://schemas.microsoft.com/office/drawing/2014/main" id="{27420304-8DFD-B57B-1DCD-B694550587E7}"/>
              </a:ext>
            </a:extLst>
          </p:cNvPr>
          <p:cNvSpPr>
            <a:spLocks/>
          </p:cNvSpPr>
          <p:nvPr/>
        </p:nvSpPr>
        <p:spPr>
          <a:xfrm>
            <a:off x="0" y="3033584"/>
            <a:ext cx="12192000" cy="12591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3" name="Gruppieren 10">
            <a:extLst>
              <a:ext uri="{FF2B5EF4-FFF2-40B4-BE49-F238E27FC236}">
                <a16:creationId xmlns:a16="http://schemas.microsoft.com/office/drawing/2014/main" id="{69116561-53ED-3291-BB7C-545C26D4E22B}"/>
              </a:ext>
            </a:extLst>
          </p:cNvPr>
          <p:cNvGrpSpPr>
            <a:grpSpLocks/>
          </p:cNvGrpSpPr>
          <p:nvPr/>
        </p:nvGrpSpPr>
        <p:grpSpPr>
          <a:xfrm>
            <a:off x="588262" y="1781143"/>
            <a:ext cx="3764028" cy="3764028"/>
            <a:chOff x="975612" y="1781143"/>
            <a:chExt cx="3764028" cy="3764028"/>
          </a:xfrm>
        </p:grpSpPr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2DF3F788-CE1C-7712-EEE9-4F28D96BA8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5612" y="1781143"/>
              <a:ext cx="3764028" cy="3764028"/>
            </a:xfrm>
            <a:prstGeom prst="ellipse">
              <a:avLst/>
            </a:prstGeom>
            <a:solidFill>
              <a:schemeClr val="bg1"/>
            </a:solidFill>
            <a:ln w="257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" name="Ellipse 6">
              <a:extLst>
                <a:ext uri="{FF2B5EF4-FFF2-40B4-BE49-F238E27FC236}">
                  <a16:creationId xmlns:a16="http://schemas.microsoft.com/office/drawing/2014/main" id="{C5E5B5D6-A3D2-C019-8331-CCD7636B98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01392" y="2306923"/>
              <a:ext cx="2712468" cy="2712468"/>
            </a:xfrm>
            <a:prstGeom prst="ellipse">
              <a:avLst/>
            </a:prstGeom>
            <a:solidFill>
              <a:schemeClr val="bg1"/>
            </a:solidFill>
            <a:ln w="257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Ellipse 7">
              <a:extLst>
                <a:ext uri="{FF2B5EF4-FFF2-40B4-BE49-F238E27FC236}">
                  <a16:creationId xmlns:a16="http://schemas.microsoft.com/office/drawing/2014/main" id="{DE85FD28-075C-2B6B-865C-9CB6F59C07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18868" y="2824399"/>
              <a:ext cx="1677517" cy="1677517"/>
            </a:xfrm>
            <a:prstGeom prst="ellipse">
              <a:avLst/>
            </a:prstGeom>
            <a:solidFill>
              <a:schemeClr val="bg1"/>
            </a:solidFill>
            <a:ln w="257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Ellipse 9">
              <a:extLst>
                <a:ext uri="{FF2B5EF4-FFF2-40B4-BE49-F238E27FC236}">
                  <a16:creationId xmlns:a16="http://schemas.microsoft.com/office/drawing/2014/main" id="{DD7C3095-BCD5-5ABA-F516-9B4866D393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37712" y="3343243"/>
              <a:ext cx="639828" cy="639828"/>
            </a:xfrm>
            <a:prstGeom prst="ellipse">
              <a:avLst/>
            </a:prstGeom>
            <a:solidFill>
              <a:schemeClr val="bg1"/>
            </a:solidFill>
            <a:ln w="257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1" name="Rectangle 3">
            <a:extLst>
              <a:ext uri="{FF2B5EF4-FFF2-40B4-BE49-F238E27FC236}">
                <a16:creationId xmlns:a16="http://schemas.microsoft.com/office/drawing/2014/main" id="{D0949E8A-1C03-18A9-1926-835AC9754444}"/>
              </a:ext>
            </a:extLst>
          </p:cNvPr>
          <p:cNvSpPr>
            <a:spLocks/>
          </p:cNvSpPr>
          <p:nvPr/>
        </p:nvSpPr>
        <p:spPr bwMode="gray">
          <a:xfrm>
            <a:off x="4867984" y="2191717"/>
            <a:ext cx="4494204" cy="6771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bullet}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E163E8FC-90E6-17C7-01A4-FC049260DB64}"/>
              </a:ext>
            </a:extLst>
          </p:cNvPr>
          <p:cNvSpPr>
            <a:spLocks/>
          </p:cNvSpPr>
          <p:nvPr/>
        </p:nvSpPr>
        <p:spPr bwMode="gray">
          <a:xfrm>
            <a:off x="4896175" y="4494214"/>
            <a:ext cx="201756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+mn-cs"/>
              </a:rPr>
              <a:t>{subtitle_1}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C00DB74E-EF6C-63C7-E9D5-ADD92B7CD7A4}"/>
              </a:ext>
            </a:extLst>
          </p:cNvPr>
          <p:cNvSpPr>
            <a:spLocks/>
          </p:cNvSpPr>
          <p:nvPr/>
        </p:nvSpPr>
        <p:spPr bwMode="gray">
          <a:xfrm>
            <a:off x="4896176" y="4866408"/>
            <a:ext cx="201756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_1_content}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1B9D39D6-D7B9-A2DA-0BAA-F97E869814D2}"/>
              </a:ext>
            </a:extLst>
          </p:cNvPr>
          <p:cNvSpPr>
            <a:spLocks/>
          </p:cNvSpPr>
          <p:nvPr/>
        </p:nvSpPr>
        <p:spPr bwMode="gray">
          <a:xfrm>
            <a:off x="7345744" y="4494214"/>
            <a:ext cx="201756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fontAlgn="base">
              <a:spcBef>
                <a:spcPts val="40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  <a:ea typeface="Verdana" pitchFamily="34" charset="0"/>
              </a:rPr>
              <a:t>{subtitle_2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EE139F2D-E56E-7FD5-260F-8F2B7BCE21DB}"/>
              </a:ext>
            </a:extLst>
          </p:cNvPr>
          <p:cNvSpPr>
            <a:spLocks/>
          </p:cNvSpPr>
          <p:nvPr/>
        </p:nvSpPr>
        <p:spPr bwMode="gray">
          <a:xfrm>
            <a:off x="7345744" y="4866408"/>
            <a:ext cx="201756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2_content}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E1446759-A99F-E2B6-059C-E5572F8B997B}"/>
              </a:ext>
            </a:extLst>
          </p:cNvPr>
          <p:cNvSpPr>
            <a:spLocks/>
          </p:cNvSpPr>
          <p:nvPr/>
        </p:nvSpPr>
        <p:spPr bwMode="gray">
          <a:xfrm>
            <a:off x="9795311" y="4494214"/>
            <a:ext cx="201756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fontAlgn="base">
              <a:spcBef>
                <a:spcPts val="400"/>
              </a:spcBef>
              <a:spcAft>
                <a:spcPct val="0"/>
              </a:spcAft>
              <a:defRPr/>
            </a:pPr>
            <a:r>
              <a:rPr lang="en-US" altLang="zh-CN" dirty="0">
                <a:solidFill>
                  <a:srgbClr val="1A7449"/>
                </a:solidFill>
                <a:ea typeface="Verdana" pitchFamily="34" charset="0"/>
              </a:rPr>
              <a:t>{subtitle_3}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58DB303E-F75F-11F0-6293-E3D10B8AC619}"/>
              </a:ext>
            </a:extLst>
          </p:cNvPr>
          <p:cNvSpPr>
            <a:spLocks/>
          </p:cNvSpPr>
          <p:nvPr/>
        </p:nvSpPr>
        <p:spPr bwMode="gray">
          <a:xfrm>
            <a:off x="9795311" y="4866408"/>
            <a:ext cx="201756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3_content}</a:t>
            </a:r>
          </a:p>
        </p:txBody>
      </p:sp>
      <p:grpSp>
        <p:nvGrpSpPr>
          <p:cNvPr id="18" name="Grafik 20">
            <a:extLst>
              <a:ext uri="{FF2B5EF4-FFF2-40B4-BE49-F238E27FC236}">
                <a16:creationId xmlns:a16="http://schemas.microsoft.com/office/drawing/2014/main" id="{E67388C0-1328-C97C-CC56-A200001C4988}"/>
              </a:ext>
            </a:extLst>
          </p:cNvPr>
          <p:cNvGrpSpPr>
            <a:grpSpLocks/>
          </p:cNvGrpSpPr>
          <p:nvPr/>
        </p:nvGrpSpPr>
        <p:grpSpPr>
          <a:xfrm>
            <a:off x="7345744" y="3285306"/>
            <a:ext cx="647700" cy="755703"/>
            <a:chOff x="7828308" y="3288453"/>
            <a:chExt cx="647700" cy="755703"/>
          </a:xfrm>
          <a:solidFill>
            <a:schemeClr val="accent6"/>
          </a:solidFill>
        </p:grpSpPr>
        <p:sp>
          <p:nvSpPr>
            <p:cNvPr id="19" name="Freihandform: Form 27">
              <a:extLst>
                <a:ext uri="{FF2B5EF4-FFF2-40B4-BE49-F238E27FC236}">
                  <a16:creationId xmlns:a16="http://schemas.microsoft.com/office/drawing/2014/main" id="{5C744CB0-7AD2-78F8-A85A-51FEA0E6CBBD}"/>
                </a:ext>
              </a:extLst>
            </p:cNvPr>
            <p:cNvSpPr>
              <a:spLocks/>
            </p:cNvSpPr>
            <p:nvPr/>
          </p:nvSpPr>
          <p:spPr>
            <a:xfrm>
              <a:off x="7828308" y="3288453"/>
              <a:ext cx="647700" cy="755703"/>
            </a:xfrm>
            <a:custGeom>
              <a:avLst/>
              <a:gdLst>
                <a:gd name="connsiteX0" fmla="*/ 323850 w 647700"/>
                <a:gd name="connsiteY0" fmla="*/ 0 h 755703"/>
                <a:gd name="connsiteX1" fmla="*/ 0 w 647700"/>
                <a:gd name="connsiteY1" fmla="*/ 196272 h 755703"/>
                <a:gd name="connsiteX2" fmla="*/ 0 w 647700"/>
                <a:gd name="connsiteY2" fmla="*/ 559432 h 755703"/>
                <a:gd name="connsiteX3" fmla="*/ 323850 w 647700"/>
                <a:gd name="connsiteY3" fmla="*/ 755704 h 755703"/>
                <a:gd name="connsiteX4" fmla="*/ 647700 w 647700"/>
                <a:gd name="connsiteY4" fmla="*/ 559432 h 755703"/>
                <a:gd name="connsiteX5" fmla="*/ 647700 w 647700"/>
                <a:gd name="connsiteY5" fmla="*/ 196272 h 755703"/>
                <a:gd name="connsiteX6" fmla="*/ 619801 w 647700"/>
                <a:gd name="connsiteY6" fmla="*/ 201644 h 755703"/>
                <a:gd name="connsiteX7" fmla="*/ 483394 w 647700"/>
                <a:gd name="connsiteY7" fmla="*/ 284312 h 755703"/>
                <a:gd name="connsiteX8" fmla="*/ 187442 w 647700"/>
                <a:gd name="connsiteY8" fmla="*/ 104946 h 755703"/>
                <a:gd name="connsiteX9" fmla="*/ 323850 w 647700"/>
                <a:gd name="connsiteY9" fmla="*/ 22279 h 755703"/>
                <a:gd name="connsiteX10" fmla="*/ 323850 w 647700"/>
                <a:gd name="connsiteY10" fmla="*/ 381000 h 755703"/>
                <a:gd name="connsiteX11" fmla="*/ 27899 w 647700"/>
                <a:gd name="connsiteY11" fmla="*/ 201644 h 755703"/>
                <a:gd name="connsiteX12" fmla="*/ 169069 w 647700"/>
                <a:gd name="connsiteY12" fmla="*/ 116081 h 755703"/>
                <a:gd name="connsiteX13" fmla="*/ 465020 w 647700"/>
                <a:gd name="connsiteY13" fmla="*/ 295446 h 755703"/>
                <a:gd name="connsiteX14" fmla="*/ 19050 w 647700"/>
                <a:gd name="connsiteY14" fmla="*/ 218542 h 755703"/>
                <a:gd name="connsiteX15" fmla="*/ 314325 w 647700"/>
                <a:gd name="connsiteY15" fmla="*/ 397507 h 755703"/>
                <a:gd name="connsiteX16" fmla="*/ 314325 w 647700"/>
                <a:gd name="connsiteY16" fmla="*/ 727653 h 755703"/>
                <a:gd name="connsiteX17" fmla="*/ 19050 w 647700"/>
                <a:gd name="connsiteY17" fmla="*/ 548697 h 755703"/>
                <a:gd name="connsiteX18" fmla="*/ 333375 w 647700"/>
                <a:gd name="connsiteY18" fmla="*/ 727653 h 755703"/>
                <a:gd name="connsiteX19" fmla="*/ 333375 w 647700"/>
                <a:gd name="connsiteY19" fmla="*/ 397507 h 755703"/>
                <a:gd name="connsiteX20" fmla="*/ 628650 w 647700"/>
                <a:gd name="connsiteY20" fmla="*/ 218542 h 755703"/>
                <a:gd name="connsiteX21" fmla="*/ 628650 w 647700"/>
                <a:gd name="connsiteY21" fmla="*/ 548697 h 755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47700" h="755703">
                  <a:moveTo>
                    <a:pt x="323850" y="0"/>
                  </a:moveTo>
                  <a:lnTo>
                    <a:pt x="0" y="196272"/>
                  </a:lnTo>
                  <a:lnTo>
                    <a:pt x="0" y="559432"/>
                  </a:lnTo>
                  <a:lnTo>
                    <a:pt x="323850" y="755704"/>
                  </a:lnTo>
                  <a:lnTo>
                    <a:pt x="647700" y="559432"/>
                  </a:lnTo>
                  <a:lnTo>
                    <a:pt x="647700" y="196272"/>
                  </a:lnTo>
                  <a:close/>
                  <a:moveTo>
                    <a:pt x="619801" y="201644"/>
                  </a:moveTo>
                  <a:lnTo>
                    <a:pt x="483394" y="284312"/>
                  </a:lnTo>
                  <a:lnTo>
                    <a:pt x="187442" y="104946"/>
                  </a:lnTo>
                  <a:lnTo>
                    <a:pt x="323850" y="22279"/>
                  </a:lnTo>
                  <a:close/>
                  <a:moveTo>
                    <a:pt x="323850" y="381000"/>
                  </a:moveTo>
                  <a:lnTo>
                    <a:pt x="27899" y="201644"/>
                  </a:lnTo>
                  <a:lnTo>
                    <a:pt x="169069" y="116081"/>
                  </a:lnTo>
                  <a:lnTo>
                    <a:pt x="465020" y="295446"/>
                  </a:lnTo>
                  <a:close/>
                  <a:moveTo>
                    <a:pt x="19050" y="218542"/>
                  </a:moveTo>
                  <a:lnTo>
                    <a:pt x="314325" y="397507"/>
                  </a:lnTo>
                  <a:lnTo>
                    <a:pt x="314325" y="727653"/>
                  </a:lnTo>
                  <a:lnTo>
                    <a:pt x="19050" y="548697"/>
                  </a:lnTo>
                  <a:close/>
                  <a:moveTo>
                    <a:pt x="333375" y="727653"/>
                  </a:moveTo>
                  <a:lnTo>
                    <a:pt x="333375" y="397507"/>
                  </a:lnTo>
                  <a:lnTo>
                    <a:pt x="628650" y="218542"/>
                  </a:lnTo>
                  <a:lnTo>
                    <a:pt x="628650" y="548697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0" name="Freihandform: Form 28">
              <a:extLst>
                <a:ext uri="{FF2B5EF4-FFF2-40B4-BE49-F238E27FC236}">
                  <a16:creationId xmlns:a16="http://schemas.microsoft.com/office/drawing/2014/main" id="{0D7CAEB0-6C03-FFFA-7307-D46D737AE76A}"/>
                </a:ext>
              </a:extLst>
            </p:cNvPr>
            <p:cNvSpPr>
              <a:spLocks/>
            </p:cNvSpPr>
            <p:nvPr/>
          </p:nvSpPr>
          <p:spPr>
            <a:xfrm>
              <a:off x="8199783" y="3656489"/>
              <a:ext cx="85725" cy="133969"/>
            </a:xfrm>
            <a:custGeom>
              <a:avLst/>
              <a:gdLst>
                <a:gd name="connsiteX0" fmla="*/ 9249 w 85725"/>
                <a:gd name="connsiteY0" fmla="*/ 45863 h 133969"/>
                <a:gd name="connsiteX1" fmla="*/ 0 w 85725"/>
                <a:gd name="connsiteY1" fmla="*/ 51435 h 133969"/>
                <a:gd name="connsiteX2" fmla="*/ 0 w 85725"/>
                <a:gd name="connsiteY2" fmla="*/ 133969 h 133969"/>
                <a:gd name="connsiteX3" fmla="*/ 28851 w 85725"/>
                <a:gd name="connsiteY3" fmla="*/ 116662 h 133969"/>
                <a:gd name="connsiteX4" fmla="*/ 76476 w 85725"/>
                <a:gd name="connsiteY4" fmla="*/ 88087 h 133969"/>
                <a:gd name="connsiteX5" fmla="*/ 85725 w 85725"/>
                <a:gd name="connsiteY5" fmla="*/ 82515 h 133969"/>
                <a:gd name="connsiteX6" fmla="*/ 85725 w 85725"/>
                <a:gd name="connsiteY6" fmla="*/ 0 h 133969"/>
                <a:gd name="connsiteX7" fmla="*/ 56874 w 85725"/>
                <a:gd name="connsiteY7" fmla="*/ 17307 h 133969"/>
                <a:gd name="connsiteX8" fmla="*/ 66675 w 85725"/>
                <a:gd name="connsiteY8" fmla="*/ 71733 h 133969"/>
                <a:gd name="connsiteX9" fmla="*/ 19050 w 85725"/>
                <a:gd name="connsiteY9" fmla="*/ 100308 h 133969"/>
                <a:gd name="connsiteX10" fmla="*/ 19050 w 85725"/>
                <a:gd name="connsiteY10" fmla="*/ 62208 h 133969"/>
                <a:gd name="connsiteX11" fmla="*/ 66675 w 85725"/>
                <a:gd name="connsiteY11" fmla="*/ 33633 h 133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133969">
                  <a:moveTo>
                    <a:pt x="9249" y="45863"/>
                  </a:moveTo>
                  <a:lnTo>
                    <a:pt x="0" y="51435"/>
                  </a:lnTo>
                  <a:lnTo>
                    <a:pt x="0" y="133969"/>
                  </a:lnTo>
                  <a:lnTo>
                    <a:pt x="28851" y="116662"/>
                  </a:lnTo>
                  <a:lnTo>
                    <a:pt x="76476" y="88087"/>
                  </a:lnTo>
                  <a:lnTo>
                    <a:pt x="85725" y="82515"/>
                  </a:lnTo>
                  <a:lnTo>
                    <a:pt x="85725" y="0"/>
                  </a:lnTo>
                  <a:lnTo>
                    <a:pt x="56874" y="17307"/>
                  </a:lnTo>
                  <a:close/>
                  <a:moveTo>
                    <a:pt x="66675" y="71733"/>
                  </a:moveTo>
                  <a:lnTo>
                    <a:pt x="19050" y="100308"/>
                  </a:lnTo>
                  <a:lnTo>
                    <a:pt x="19050" y="62208"/>
                  </a:lnTo>
                  <a:lnTo>
                    <a:pt x="66675" y="3363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1" name="Grafik 22">
            <a:extLst>
              <a:ext uri="{FF2B5EF4-FFF2-40B4-BE49-F238E27FC236}">
                <a16:creationId xmlns:a16="http://schemas.microsoft.com/office/drawing/2014/main" id="{DC9DAE6A-69EA-3832-49D6-A91A87FCCA3D}"/>
              </a:ext>
            </a:extLst>
          </p:cNvPr>
          <p:cNvGrpSpPr>
            <a:grpSpLocks/>
          </p:cNvGrpSpPr>
          <p:nvPr/>
        </p:nvGrpSpPr>
        <p:grpSpPr>
          <a:xfrm>
            <a:off x="9795311" y="3313642"/>
            <a:ext cx="670948" cy="699030"/>
            <a:chOff x="10105936" y="3345126"/>
            <a:chExt cx="670948" cy="699030"/>
          </a:xfrm>
          <a:solidFill>
            <a:schemeClr val="accent6"/>
          </a:solidFill>
        </p:grpSpPr>
        <p:sp>
          <p:nvSpPr>
            <p:cNvPr id="22" name="Freihandform: Form 30">
              <a:extLst>
                <a:ext uri="{FF2B5EF4-FFF2-40B4-BE49-F238E27FC236}">
                  <a16:creationId xmlns:a16="http://schemas.microsoft.com/office/drawing/2014/main" id="{C098D8AF-148E-7745-9905-655DFD61B0C2}"/>
                </a:ext>
              </a:extLst>
            </p:cNvPr>
            <p:cNvSpPr>
              <a:spLocks/>
            </p:cNvSpPr>
            <p:nvPr/>
          </p:nvSpPr>
          <p:spPr>
            <a:xfrm>
              <a:off x="10366757" y="3526882"/>
              <a:ext cx="410127" cy="374046"/>
            </a:xfrm>
            <a:custGeom>
              <a:avLst/>
              <a:gdLst>
                <a:gd name="connsiteX0" fmla="*/ 410127 w 410127"/>
                <a:gd name="connsiteY0" fmla="*/ 246412 h 374046"/>
                <a:gd name="connsiteX1" fmla="*/ 308048 w 410127"/>
                <a:gd name="connsiteY1" fmla="*/ 0 h 374046"/>
                <a:gd name="connsiteX2" fmla="*/ 0 w 410127"/>
                <a:gd name="connsiteY2" fmla="*/ 127635 h 374046"/>
                <a:gd name="connsiteX3" fmla="*/ 102079 w 410127"/>
                <a:gd name="connsiteY3" fmla="*/ 374047 h 374046"/>
                <a:gd name="connsiteX4" fmla="*/ 297732 w 410127"/>
                <a:gd name="connsiteY4" fmla="*/ 24898 h 374046"/>
                <a:gd name="connsiteX5" fmla="*/ 385229 w 410127"/>
                <a:gd name="connsiteY5" fmla="*/ 236106 h 374046"/>
                <a:gd name="connsiteX6" fmla="*/ 112385 w 410127"/>
                <a:gd name="connsiteY6" fmla="*/ 349110 h 374046"/>
                <a:gd name="connsiteX7" fmla="*/ 24898 w 410127"/>
                <a:gd name="connsiteY7" fmla="*/ 137903 h 37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0127" h="374046">
                  <a:moveTo>
                    <a:pt x="410127" y="246412"/>
                  </a:moveTo>
                  <a:lnTo>
                    <a:pt x="308048" y="0"/>
                  </a:lnTo>
                  <a:lnTo>
                    <a:pt x="0" y="127635"/>
                  </a:lnTo>
                  <a:lnTo>
                    <a:pt x="102079" y="374047"/>
                  </a:lnTo>
                  <a:close/>
                  <a:moveTo>
                    <a:pt x="297732" y="24898"/>
                  </a:moveTo>
                  <a:lnTo>
                    <a:pt x="385229" y="236106"/>
                  </a:lnTo>
                  <a:lnTo>
                    <a:pt x="112385" y="349110"/>
                  </a:lnTo>
                  <a:lnTo>
                    <a:pt x="24898" y="137903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ihandform: Form 31">
              <a:extLst>
                <a:ext uri="{FF2B5EF4-FFF2-40B4-BE49-F238E27FC236}">
                  <a16:creationId xmlns:a16="http://schemas.microsoft.com/office/drawing/2014/main" id="{283E5C4D-22A2-5642-92DB-15FA1F36CF62}"/>
                </a:ext>
              </a:extLst>
            </p:cNvPr>
            <p:cNvSpPr>
              <a:spLocks/>
            </p:cNvSpPr>
            <p:nvPr/>
          </p:nvSpPr>
          <p:spPr>
            <a:xfrm>
              <a:off x="10465760" y="3835330"/>
              <a:ext cx="260032" cy="125187"/>
            </a:xfrm>
            <a:custGeom>
              <a:avLst/>
              <a:gdLst>
                <a:gd name="connsiteX0" fmla="*/ 3258 w 260032"/>
                <a:gd name="connsiteY0" fmla="*/ 103222 h 125187"/>
                <a:gd name="connsiteX1" fmla="*/ 0 w 260032"/>
                <a:gd name="connsiteY1" fmla="*/ 125187 h 125187"/>
                <a:gd name="connsiteX2" fmla="*/ 260033 w 260032"/>
                <a:gd name="connsiteY2" fmla="*/ 17602 h 125187"/>
                <a:gd name="connsiteX3" fmla="*/ 252736 w 260032"/>
                <a:gd name="connsiteY3" fmla="*/ 0 h 125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0032" h="125187">
                  <a:moveTo>
                    <a:pt x="3258" y="103222"/>
                  </a:moveTo>
                  <a:cubicBezTo>
                    <a:pt x="2779" y="110621"/>
                    <a:pt x="1690" y="117968"/>
                    <a:pt x="0" y="125187"/>
                  </a:cubicBezTo>
                  <a:lnTo>
                    <a:pt x="260033" y="17602"/>
                  </a:lnTo>
                  <a:lnTo>
                    <a:pt x="252736" y="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" name="Freihandform: Form 32">
              <a:extLst>
                <a:ext uri="{FF2B5EF4-FFF2-40B4-BE49-F238E27FC236}">
                  <a16:creationId xmlns:a16="http://schemas.microsoft.com/office/drawing/2014/main" id="{7197EE3F-D661-0404-DD9D-515173E3F50B}"/>
                </a:ext>
              </a:extLst>
            </p:cNvPr>
            <p:cNvSpPr>
              <a:spLocks/>
            </p:cNvSpPr>
            <p:nvPr/>
          </p:nvSpPr>
          <p:spPr>
            <a:xfrm>
              <a:off x="10105936" y="3345126"/>
              <a:ext cx="287443" cy="464486"/>
            </a:xfrm>
            <a:custGeom>
              <a:avLst/>
              <a:gdLst>
                <a:gd name="connsiteX0" fmla="*/ 263031 w 287443"/>
                <a:gd name="connsiteY0" fmla="*/ 455647 h 464486"/>
                <a:gd name="connsiteX1" fmla="*/ 287444 w 287443"/>
                <a:gd name="connsiteY1" fmla="*/ 464487 h 464486"/>
                <a:gd name="connsiteX2" fmla="*/ 91305 w 287443"/>
                <a:gd name="connsiteY2" fmla="*/ 0 h 464486"/>
                <a:gd name="connsiteX3" fmla="*/ 73760 w 287443"/>
                <a:gd name="connsiteY3" fmla="*/ 7410 h 464486"/>
                <a:gd name="connsiteX4" fmla="*/ 101678 w 287443"/>
                <a:gd name="connsiteY4" fmla="*/ 73514 h 464486"/>
                <a:gd name="connsiteX5" fmla="*/ 5999 w 287443"/>
                <a:gd name="connsiteY5" fmla="*/ 113386 h 464486"/>
                <a:gd name="connsiteX6" fmla="*/ 680 w 287443"/>
                <a:gd name="connsiteY6" fmla="*/ 125761 h 464486"/>
                <a:gd name="connsiteX7" fmla="*/ 13057 w 287443"/>
                <a:gd name="connsiteY7" fmla="*/ 131080 h 464486"/>
                <a:gd name="connsiteX8" fmla="*/ 13324 w 287443"/>
                <a:gd name="connsiteY8" fmla="*/ 130969 h 464486"/>
                <a:gd name="connsiteX9" fmla="*/ 109088 w 287443"/>
                <a:gd name="connsiteY9" fmla="*/ 91069 h 464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43" h="464486">
                  <a:moveTo>
                    <a:pt x="263031" y="455647"/>
                  </a:moveTo>
                  <a:cubicBezTo>
                    <a:pt x="271439" y="457786"/>
                    <a:pt x="279616" y="460746"/>
                    <a:pt x="287444" y="464487"/>
                  </a:cubicBezTo>
                  <a:lnTo>
                    <a:pt x="91305" y="0"/>
                  </a:lnTo>
                  <a:lnTo>
                    <a:pt x="73760" y="7410"/>
                  </a:lnTo>
                  <a:lnTo>
                    <a:pt x="101678" y="73514"/>
                  </a:lnTo>
                  <a:lnTo>
                    <a:pt x="5999" y="113386"/>
                  </a:lnTo>
                  <a:cubicBezTo>
                    <a:pt x="1113" y="115334"/>
                    <a:pt x="-1269" y="120875"/>
                    <a:pt x="680" y="125761"/>
                  </a:cubicBezTo>
                  <a:cubicBezTo>
                    <a:pt x="2629" y="130648"/>
                    <a:pt x="8171" y="133029"/>
                    <a:pt x="13057" y="131080"/>
                  </a:cubicBezTo>
                  <a:cubicBezTo>
                    <a:pt x="13147" y="131044"/>
                    <a:pt x="13235" y="131007"/>
                    <a:pt x="13324" y="130969"/>
                  </a:cubicBezTo>
                  <a:lnTo>
                    <a:pt x="109088" y="91069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" name="Freihandform: Form 33">
              <a:extLst>
                <a:ext uri="{FF2B5EF4-FFF2-40B4-BE49-F238E27FC236}">
                  <a16:creationId xmlns:a16="http://schemas.microsoft.com/office/drawing/2014/main" id="{A6FA4411-219C-7ADD-A2F6-CCC84E10E437}"/>
                </a:ext>
              </a:extLst>
            </p:cNvPr>
            <p:cNvSpPr>
              <a:spLocks/>
            </p:cNvSpPr>
            <p:nvPr/>
          </p:nvSpPr>
          <p:spPr>
            <a:xfrm>
              <a:off x="10221816" y="3815557"/>
              <a:ext cx="228600" cy="228600"/>
            </a:xfrm>
            <a:custGeom>
              <a:avLst/>
              <a:gdLst>
                <a:gd name="connsiteX0" fmla="*/ 114300 w 228600"/>
                <a:gd name="connsiteY0" fmla="*/ 0 h 228600"/>
                <a:gd name="connsiteX1" fmla="*/ 0 w 228600"/>
                <a:gd name="connsiteY1" fmla="*/ 114300 h 228600"/>
                <a:gd name="connsiteX2" fmla="*/ 114300 w 228600"/>
                <a:gd name="connsiteY2" fmla="*/ 228600 h 228600"/>
                <a:gd name="connsiteX3" fmla="*/ 228600 w 228600"/>
                <a:gd name="connsiteY3" fmla="*/ 114300 h 228600"/>
                <a:gd name="connsiteX4" fmla="*/ 114300 w 228600"/>
                <a:gd name="connsiteY4" fmla="*/ 0 h 228600"/>
                <a:gd name="connsiteX5" fmla="*/ 114300 w 228600"/>
                <a:gd name="connsiteY5" fmla="*/ 209550 h 228600"/>
                <a:gd name="connsiteX6" fmla="*/ 19050 w 228600"/>
                <a:gd name="connsiteY6" fmla="*/ 114300 h 228600"/>
                <a:gd name="connsiteX7" fmla="*/ 114300 w 228600"/>
                <a:gd name="connsiteY7" fmla="*/ 19050 h 228600"/>
                <a:gd name="connsiteX8" fmla="*/ 209550 w 228600"/>
                <a:gd name="connsiteY8" fmla="*/ 114300 h 228600"/>
                <a:gd name="connsiteX9" fmla="*/ 114300 w 228600"/>
                <a:gd name="connsiteY9" fmla="*/ 20955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0"/>
                  </a:moveTo>
                  <a:cubicBezTo>
                    <a:pt x="51174" y="0"/>
                    <a:pt x="0" y="51174"/>
                    <a:pt x="0" y="114300"/>
                  </a:cubicBezTo>
                  <a:cubicBezTo>
                    <a:pt x="0" y="177426"/>
                    <a:pt x="51174" y="228600"/>
                    <a:pt x="114300" y="228600"/>
                  </a:cubicBezTo>
                  <a:cubicBezTo>
                    <a:pt x="177426" y="228600"/>
                    <a:pt x="228600" y="177426"/>
                    <a:pt x="228600" y="114300"/>
                  </a:cubicBezTo>
                  <a:cubicBezTo>
                    <a:pt x="228531" y="51202"/>
                    <a:pt x="177397" y="69"/>
                    <a:pt x="114300" y="0"/>
                  </a:cubicBezTo>
                  <a:close/>
                  <a:moveTo>
                    <a:pt x="114300" y="209550"/>
                  </a:moveTo>
                  <a:cubicBezTo>
                    <a:pt x="61695" y="209550"/>
                    <a:pt x="19050" y="166906"/>
                    <a:pt x="19050" y="114300"/>
                  </a:cubicBezTo>
                  <a:cubicBezTo>
                    <a:pt x="19050" y="61694"/>
                    <a:pt x="61695" y="19050"/>
                    <a:pt x="114300" y="19050"/>
                  </a:cubicBezTo>
                  <a:cubicBezTo>
                    <a:pt x="166905" y="19050"/>
                    <a:pt x="209550" y="61694"/>
                    <a:pt x="209550" y="114300"/>
                  </a:cubicBezTo>
                  <a:cubicBezTo>
                    <a:pt x="209492" y="166881"/>
                    <a:pt x="166881" y="209492"/>
                    <a:pt x="114300" y="20955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" name="Freihandform: Form 34">
              <a:extLst>
                <a:ext uri="{FF2B5EF4-FFF2-40B4-BE49-F238E27FC236}">
                  <a16:creationId xmlns:a16="http://schemas.microsoft.com/office/drawing/2014/main" id="{3264E8DF-5B7D-F730-5740-8445B26E4EEC}"/>
                </a:ext>
              </a:extLst>
            </p:cNvPr>
            <p:cNvSpPr>
              <a:spLocks/>
            </p:cNvSpPr>
            <p:nvPr/>
          </p:nvSpPr>
          <p:spPr>
            <a:xfrm>
              <a:off x="10288491" y="3882232"/>
              <a:ext cx="95250" cy="95250"/>
            </a:xfrm>
            <a:custGeom>
              <a:avLst/>
              <a:gdLst>
                <a:gd name="connsiteX0" fmla="*/ 47625 w 95250"/>
                <a:gd name="connsiteY0" fmla="*/ 0 h 95250"/>
                <a:gd name="connsiteX1" fmla="*/ 0 w 95250"/>
                <a:gd name="connsiteY1" fmla="*/ 47625 h 95250"/>
                <a:gd name="connsiteX2" fmla="*/ 47625 w 95250"/>
                <a:gd name="connsiteY2" fmla="*/ 95250 h 95250"/>
                <a:gd name="connsiteX3" fmla="*/ 95250 w 95250"/>
                <a:gd name="connsiteY3" fmla="*/ 47625 h 95250"/>
                <a:gd name="connsiteX4" fmla="*/ 47625 w 95250"/>
                <a:gd name="connsiteY4" fmla="*/ 0 h 95250"/>
                <a:gd name="connsiteX5" fmla="*/ 47625 w 95250"/>
                <a:gd name="connsiteY5" fmla="*/ 76200 h 95250"/>
                <a:gd name="connsiteX6" fmla="*/ 19050 w 95250"/>
                <a:gd name="connsiteY6" fmla="*/ 47625 h 95250"/>
                <a:gd name="connsiteX7" fmla="*/ 47625 w 95250"/>
                <a:gd name="connsiteY7" fmla="*/ 19050 h 95250"/>
                <a:gd name="connsiteX8" fmla="*/ 76200 w 95250"/>
                <a:gd name="connsiteY8" fmla="*/ 47625 h 95250"/>
                <a:gd name="connsiteX9" fmla="*/ 47625 w 95250"/>
                <a:gd name="connsiteY9" fmla="*/ 7620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95250">
                  <a:moveTo>
                    <a:pt x="47625" y="0"/>
                  </a:moveTo>
                  <a:cubicBezTo>
                    <a:pt x="21323" y="0"/>
                    <a:pt x="0" y="21323"/>
                    <a:pt x="0" y="47625"/>
                  </a:cubicBezTo>
                  <a:cubicBezTo>
                    <a:pt x="0" y="73927"/>
                    <a:pt x="21323" y="95250"/>
                    <a:pt x="47625" y="95250"/>
                  </a:cubicBezTo>
                  <a:cubicBezTo>
                    <a:pt x="73927" y="95250"/>
                    <a:pt x="95250" y="73927"/>
                    <a:pt x="95250" y="47625"/>
                  </a:cubicBezTo>
                  <a:cubicBezTo>
                    <a:pt x="95219" y="21335"/>
                    <a:pt x="73915" y="31"/>
                    <a:pt x="47625" y="0"/>
                  </a:cubicBezTo>
                  <a:close/>
                  <a:moveTo>
                    <a:pt x="47625" y="76200"/>
                  </a:moveTo>
                  <a:cubicBezTo>
                    <a:pt x="31843" y="76200"/>
                    <a:pt x="19050" y="63407"/>
                    <a:pt x="19050" y="47625"/>
                  </a:cubicBezTo>
                  <a:cubicBezTo>
                    <a:pt x="19050" y="31843"/>
                    <a:pt x="31843" y="19050"/>
                    <a:pt x="47625" y="19050"/>
                  </a:cubicBezTo>
                  <a:cubicBezTo>
                    <a:pt x="63407" y="19050"/>
                    <a:pt x="76200" y="31843"/>
                    <a:pt x="76200" y="47625"/>
                  </a:cubicBezTo>
                  <a:cubicBezTo>
                    <a:pt x="76200" y="63407"/>
                    <a:pt x="63407" y="76200"/>
                    <a:pt x="47625" y="7620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7" name="Grafik 24">
            <a:extLst>
              <a:ext uri="{FF2B5EF4-FFF2-40B4-BE49-F238E27FC236}">
                <a16:creationId xmlns:a16="http://schemas.microsoft.com/office/drawing/2014/main" id="{B275ABD3-2152-EA66-D6DB-D33820F2CDE3}"/>
              </a:ext>
            </a:extLst>
          </p:cNvPr>
          <p:cNvSpPr>
            <a:spLocks/>
          </p:cNvSpPr>
          <p:nvPr/>
        </p:nvSpPr>
        <p:spPr>
          <a:xfrm>
            <a:off x="4867984" y="3365446"/>
            <a:ext cx="746398" cy="595422"/>
          </a:xfrm>
          <a:custGeom>
            <a:avLst/>
            <a:gdLst>
              <a:gd name="connsiteX0" fmla="*/ 577167 w 746398"/>
              <a:gd name="connsiteY0" fmla="*/ 176323 h 595422"/>
              <a:gd name="connsiteX1" fmla="*/ 420348 w 746398"/>
              <a:gd name="connsiteY1" fmla="*/ 19503 h 595422"/>
              <a:gd name="connsiteX2" fmla="*/ 326050 w 746398"/>
              <a:gd name="connsiteY2" fmla="*/ 19503 h 595422"/>
              <a:gd name="connsiteX3" fmla="*/ 169231 w 746398"/>
              <a:gd name="connsiteY3" fmla="*/ 176323 h 595422"/>
              <a:gd name="connsiteX4" fmla="*/ 0 w 746398"/>
              <a:gd name="connsiteY4" fmla="*/ 176323 h 595422"/>
              <a:gd name="connsiteX5" fmla="*/ 63227 w 746398"/>
              <a:gd name="connsiteY5" fmla="*/ 555627 h 595422"/>
              <a:gd name="connsiteX6" fmla="*/ 110204 w 746398"/>
              <a:gd name="connsiteY6" fmla="*/ 595423 h 595422"/>
              <a:gd name="connsiteX7" fmla="*/ 636194 w 746398"/>
              <a:gd name="connsiteY7" fmla="*/ 595423 h 595422"/>
              <a:gd name="connsiteX8" fmla="*/ 683171 w 746398"/>
              <a:gd name="connsiteY8" fmla="*/ 555627 h 595422"/>
              <a:gd name="connsiteX9" fmla="*/ 746398 w 746398"/>
              <a:gd name="connsiteY9" fmla="*/ 176323 h 595422"/>
              <a:gd name="connsiteX10" fmla="*/ 44720 w 746398"/>
              <a:gd name="connsiteY10" fmla="*/ 328723 h 595422"/>
              <a:gd name="connsiteX11" fmla="*/ 192881 w 746398"/>
              <a:gd name="connsiteY11" fmla="*/ 328723 h 595422"/>
              <a:gd name="connsiteX12" fmla="*/ 201044 w 746398"/>
              <a:gd name="connsiteY12" fmla="*/ 443023 h 595422"/>
              <a:gd name="connsiteX13" fmla="*/ 63770 w 746398"/>
              <a:gd name="connsiteY13" fmla="*/ 443023 h 595422"/>
              <a:gd name="connsiteX14" fmla="*/ 211979 w 746398"/>
              <a:gd name="connsiteY14" fmla="*/ 328723 h 595422"/>
              <a:gd name="connsiteX15" fmla="*/ 363674 w 746398"/>
              <a:gd name="connsiteY15" fmla="*/ 328723 h 595422"/>
              <a:gd name="connsiteX16" fmla="*/ 363674 w 746398"/>
              <a:gd name="connsiteY16" fmla="*/ 443023 h 595422"/>
              <a:gd name="connsiteX17" fmla="*/ 220142 w 746398"/>
              <a:gd name="connsiteY17" fmla="*/ 443023 h 595422"/>
              <a:gd name="connsiteX18" fmla="*/ 543944 w 746398"/>
              <a:gd name="connsiteY18" fmla="*/ 195373 h 595422"/>
              <a:gd name="connsiteX19" fmla="*/ 535781 w 746398"/>
              <a:gd name="connsiteY19" fmla="*/ 309673 h 595422"/>
              <a:gd name="connsiteX20" fmla="*/ 382724 w 746398"/>
              <a:gd name="connsiteY20" fmla="*/ 309673 h 595422"/>
              <a:gd name="connsiteX21" fmla="*/ 382724 w 746398"/>
              <a:gd name="connsiteY21" fmla="*/ 195373 h 595422"/>
              <a:gd name="connsiteX22" fmla="*/ 363674 w 746398"/>
              <a:gd name="connsiteY22" fmla="*/ 309673 h 595422"/>
              <a:gd name="connsiteX23" fmla="*/ 210617 w 746398"/>
              <a:gd name="connsiteY23" fmla="*/ 309673 h 595422"/>
              <a:gd name="connsiteX24" fmla="*/ 202454 w 746398"/>
              <a:gd name="connsiteY24" fmla="*/ 195373 h 595422"/>
              <a:gd name="connsiteX25" fmla="*/ 363674 w 746398"/>
              <a:gd name="connsiteY25" fmla="*/ 195373 h 595422"/>
              <a:gd name="connsiteX26" fmla="*/ 363674 w 746398"/>
              <a:gd name="connsiteY26" fmla="*/ 462073 h 595422"/>
              <a:gd name="connsiteX27" fmla="*/ 363674 w 746398"/>
              <a:gd name="connsiteY27" fmla="*/ 576373 h 595422"/>
              <a:gd name="connsiteX28" fmla="*/ 229667 w 746398"/>
              <a:gd name="connsiteY28" fmla="*/ 576373 h 595422"/>
              <a:gd name="connsiteX29" fmla="*/ 221504 w 746398"/>
              <a:gd name="connsiteY29" fmla="*/ 462073 h 595422"/>
              <a:gd name="connsiteX30" fmla="*/ 382724 w 746398"/>
              <a:gd name="connsiteY30" fmla="*/ 462073 h 595422"/>
              <a:gd name="connsiteX31" fmla="*/ 524894 w 746398"/>
              <a:gd name="connsiteY31" fmla="*/ 462073 h 595422"/>
              <a:gd name="connsiteX32" fmla="*/ 516731 w 746398"/>
              <a:gd name="connsiteY32" fmla="*/ 576373 h 595422"/>
              <a:gd name="connsiteX33" fmla="*/ 382724 w 746398"/>
              <a:gd name="connsiteY33" fmla="*/ 576373 h 595422"/>
              <a:gd name="connsiteX34" fmla="*/ 382724 w 746398"/>
              <a:gd name="connsiteY34" fmla="*/ 443023 h 595422"/>
              <a:gd name="connsiteX35" fmla="*/ 382724 w 746398"/>
              <a:gd name="connsiteY35" fmla="*/ 328723 h 595422"/>
              <a:gd name="connsiteX36" fmla="*/ 534419 w 746398"/>
              <a:gd name="connsiteY36" fmla="*/ 328723 h 595422"/>
              <a:gd name="connsiteX37" fmla="*/ 526256 w 746398"/>
              <a:gd name="connsiteY37" fmla="*/ 443023 h 595422"/>
              <a:gd name="connsiteX38" fmla="*/ 553517 w 746398"/>
              <a:gd name="connsiteY38" fmla="*/ 328723 h 595422"/>
              <a:gd name="connsiteX39" fmla="*/ 701678 w 746398"/>
              <a:gd name="connsiteY39" fmla="*/ 328723 h 595422"/>
              <a:gd name="connsiteX40" fmla="*/ 682628 w 746398"/>
              <a:gd name="connsiteY40" fmla="*/ 443023 h 595422"/>
              <a:gd name="connsiteX41" fmla="*/ 545354 w 746398"/>
              <a:gd name="connsiteY41" fmla="*/ 443023 h 595422"/>
              <a:gd name="connsiteX42" fmla="*/ 554879 w 746398"/>
              <a:gd name="connsiteY42" fmla="*/ 309673 h 595422"/>
              <a:gd name="connsiteX43" fmla="*/ 563042 w 746398"/>
              <a:gd name="connsiteY43" fmla="*/ 195373 h 595422"/>
              <a:gd name="connsiteX44" fmla="*/ 723900 w 746398"/>
              <a:gd name="connsiteY44" fmla="*/ 195373 h 595422"/>
              <a:gd name="connsiteX45" fmla="*/ 704850 w 746398"/>
              <a:gd name="connsiteY45" fmla="*/ 309673 h 595422"/>
              <a:gd name="connsiteX46" fmla="*/ 339519 w 746398"/>
              <a:gd name="connsiteY46" fmla="*/ 32972 h 595422"/>
              <a:gd name="connsiteX47" fmla="*/ 406879 w 746398"/>
              <a:gd name="connsiteY47" fmla="*/ 32972 h 595422"/>
              <a:gd name="connsiteX48" fmla="*/ 550231 w 746398"/>
              <a:gd name="connsiteY48" fmla="*/ 176323 h 595422"/>
              <a:gd name="connsiteX49" fmla="*/ 196167 w 746398"/>
              <a:gd name="connsiteY49" fmla="*/ 176323 h 595422"/>
              <a:gd name="connsiteX50" fmla="*/ 183356 w 746398"/>
              <a:gd name="connsiteY50" fmla="*/ 195373 h 595422"/>
              <a:gd name="connsiteX51" fmla="*/ 191519 w 746398"/>
              <a:gd name="connsiteY51" fmla="*/ 309673 h 595422"/>
              <a:gd name="connsiteX52" fmla="*/ 41548 w 746398"/>
              <a:gd name="connsiteY52" fmla="*/ 309673 h 595422"/>
              <a:gd name="connsiteX53" fmla="*/ 22498 w 746398"/>
              <a:gd name="connsiteY53" fmla="*/ 195373 h 595422"/>
              <a:gd name="connsiteX54" fmla="*/ 82010 w 746398"/>
              <a:gd name="connsiteY54" fmla="*/ 552494 h 595422"/>
              <a:gd name="connsiteX55" fmla="*/ 66942 w 746398"/>
              <a:gd name="connsiteY55" fmla="*/ 462073 h 595422"/>
              <a:gd name="connsiteX56" fmla="*/ 202406 w 746398"/>
              <a:gd name="connsiteY56" fmla="*/ 462073 h 595422"/>
              <a:gd name="connsiteX57" fmla="*/ 210569 w 746398"/>
              <a:gd name="connsiteY57" fmla="*/ 576373 h 595422"/>
              <a:gd name="connsiteX58" fmla="*/ 110204 w 746398"/>
              <a:gd name="connsiteY58" fmla="*/ 576373 h 595422"/>
              <a:gd name="connsiteX59" fmla="*/ 82010 w 746398"/>
              <a:gd name="connsiteY59" fmla="*/ 552494 h 595422"/>
              <a:gd name="connsiteX60" fmla="*/ 664388 w 746398"/>
              <a:gd name="connsiteY60" fmla="*/ 552494 h 595422"/>
              <a:gd name="connsiteX61" fmla="*/ 636194 w 746398"/>
              <a:gd name="connsiteY61" fmla="*/ 576373 h 595422"/>
              <a:gd name="connsiteX62" fmla="*/ 535829 w 746398"/>
              <a:gd name="connsiteY62" fmla="*/ 576373 h 595422"/>
              <a:gd name="connsiteX63" fmla="*/ 543992 w 746398"/>
              <a:gd name="connsiteY63" fmla="*/ 462073 h 595422"/>
              <a:gd name="connsiteX64" fmla="*/ 679456 w 746398"/>
              <a:gd name="connsiteY64" fmla="*/ 462073 h 5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746398" h="595422">
                <a:moveTo>
                  <a:pt x="577167" y="176323"/>
                </a:moveTo>
                <a:lnTo>
                  <a:pt x="420348" y="19503"/>
                </a:lnTo>
                <a:cubicBezTo>
                  <a:pt x="394294" y="-6501"/>
                  <a:pt x="352104" y="-6501"/>
                  <a:pt x="326050" y="19503"/>
                </a:cubicBezTo>
                <a:lnTo>
                  <a:pt x="169231" y="176323"/>
                </a:lnTo>
                <a:lnTo>
                  <a:pt x="0" y="176323"/>
                </a:lnTo>
                <a:lnTo>
                  <a:pt x="63227" y="555627"/>
                </a:lnTo>
                <a:cubicBezTo>
                  <a:pt x="66992" y="578627"/>
                  <a:pt x="86898" y="595490"/>
                  <a:pt x="110204" y="595423"/>
                </a:cubicBezTo>
                <a:lnTo>
                  <a:pt x="636194" y="595423"/>
                </a:lnTo>
                <a:cubicBezTo>
                  <a:pt x="659500" y="595490"/>
                  <a:pt x="679406" y="578627"/>
                  <a:pt x="683171" y="555627"/>
                </a:cubicBezTo>
                <a:lnTo>
                  <a:pt x="746398" y="176323"/>
                </a:lnTo>
                <a:close/>
                <a:moveTo>
                  <a:pt x="44720" y="328723"/>
                </a:moveTo>
                <a:lnTo>
                  <a:pt x="192881" y="328723"/>
                </a:lnTo>
                <a:lnTo>
                  <a:pt x="201044" y="443023"/>
                </a:lnTo>
                <a:lnTo>
                  <a:pt x="63770" y="443023"/>
                </a:lnTo>
                <a:close/>
                <a:moveTo>
                  <a:pt x="211979" y="328723"/>
                </a:moveTo>
                <a:lnTo>
                  <a:pt x="363674" y="328723"/>
                </a:lnTo>
                <a:lnTo>
                  <a:pt x="363674" y="443023"/>
                </a:lnTo>
                <a:lnTo>
                  <a:pt x="220142" y="443023"/>
                </a:lnTo>
                <a:close/>
                <a:moveTo>
                  <a:pt x="543944" y="195373"/>
                </a:moveTo>
                <a:lnTo>
                  <a:pt x="535781" y="309673"/>
                </a:lnTo>
                <a:lnTo>
                  <a:pt x="382724" y="309673"/>
                </a:lnTo>
                <a:lnTo>
                  <a:pt x="382724" y="195373"/>
                </a:lnTo>
                <a:close/>
                <a:moveTo>
                  <a:pt x="363674" y="309673"/>
                </a:moveTo>
                <a:lnTo>
                  <a:pt x="210617" y="309673"/>
                </a:lnTo>
                <a:lnTo>
                  <a:pt x="202454" y="195373"/>
                </a:lnTo>
                <a:lnTo>
                  <a:pt x="363674" y="195373"/>
                </a:lnTo>
                <a:close/>
                <a:moveTo>
                  <a:pt x="363674" y="462073"/>
                </a:moveTo>
                <a:lnTo>
                  <a:pt x="363674" y="576373"/>
                </a:lnTo>
                <a:lnTo>
                  <a:pt x="229667" y="576373"/>
                </a:lnTo>
                <a:lnTo>
                  <a:pt x="221504" y="462073"/>
                </a:lnTo>
                <a:close/>
                <a:moveTo>
                  <a:pt x="382724" y="462073"/>
                </a:moveTo>
                <a:lnTo>
                  <a:pt x="524894" y="462073"/>
                </a:lnTo>
                <a:lnTo>
                  <a:pt x="516731" y="576373"/>
                </a:lnTo>
                <a:lnTo>
                  <a:pt x="382724" y="576373"/>
                </a:lnTo>
                <a:close/>
                <a:moveTo>
                  <a:pt x="382724" y="443023"/>
                </a:moveTo>
                <a:lnTo>
                  <a:pt x="382724" y="328723"/>
                </a:lnTo>
                <a:lnTo>
                  <a:pt x="534419" y="328723"/>
                </a:lnTo>
                <a:lnTo>
                  <a:pt x="526256" y="443023"/>
                </a:lnTo>
                <a:close/>
                <a:moveTo>
                  <a:pt x="553517" y="328723"/>
                </a:moveTo>
                <a:lnTo>
                  <a:pt x="701678" y="328723"/>
                </a:lnTo>
                <a:lnTo>
                  <a:pt x="682628" y="443023"/>
                </a:lnTo>
                <a:lnTo>
                  <a:pt x="545354" y="443023"/>
                </a:lnTo>
                <a:close/>
                <a:moveTo>
                  <a:pt x="554879" y="309673"/>
                </a:moveTo>
                <a:lnTo>
                  <a:pt x="563042" y="195373"/>
                </a:lnTo>
                <a:lnTo>
                  <a:pt x="723900" y="195373"/>
                </a:lnTo>
                <a:lnTo>
                  <a:pt x="704850" y="309673"/>
                </a:lnTo>
                <a:close/>
                <a:moveTo>
                  <a:pt x="339519" y="32972"/>
                </a:moveTo>
                <a:cubicBezTo>
                  <a:pt x="358131" y="14399"/>
                  <a:pt x="388267" y="14399"/>
                  <a:pt x="406879" y="32972"/>
                </a:cubicBezTo>
                <a:lnTo>
                  <a:pt x="550231" y="176323"/>
                </a:lnTo>
                <a:lnTo>
                  <a:pt x="196167" y="176323"/>
                </a:lnTo>
                <a:close/>
                <a:moveTo>
                  <a:pt x="183356" y="195373"/>
                </a:moveTo>
                <a:lnTo>
                  <a:pt x="191519" y="309673"/>
                </a:lnTo>
                <a:lnTo>
                  <a:pt x="41548" y="309673"/>
                </a:lnTo>
                <a:lnTo>
                  <a:pt x="22498" y="195373"/>
                </a:lnTo>
                <a:close/>
                <a:moveTo>
                  <a:pt x="82010" y="552494"/>
                </a:moveTo>
                <a:lnTo>
                  <a:pt x="66942" y="462073"/>
                </a:lnTo>
                <a:lnTo>
                  <a:pt x="202406" y="462073"/>
                </a:lnTo>
                <a:lnTo>
                  <a:pt x="210569" y="576373"/>
                </a:lnTo>
                <a:lnTo>
                  <a:pt x="110204" y="576373"/>
                </a:lnTo>
                <a:cubicBezTo>
                  <a:pt x="96219" y="576412"/>
                  <a:pt x="84273" y="566294"/>
                  <a:pt x="82010" y="552494"/>
                </a:cubicBezTo>
                <a:close/>
                <a:moveTo>
                  <a:pt x="664388" y="552494"/>
                </a:moveTo>
                <a:cubicBezTo>
                  <a:pt x="662125" y="566294"/>
                  <a:pt x="650179" y="576412"/>
                  <a:pt x="636194" y="576373"/>
                </a:cubicBezTo>
                <a:lnTo>
                  <a:pt x="535829" y="576373"/>
                </a:lnTo>
                <a:lnTo>
                  <a:pt x="543992" y="462073"/>
                </a:lnTo>
                <a:lnTo>
                  <a:pt x="679456" y="462073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28" name="Gruppieren 39">
            <a:extLst>
              <a:ext uri="{FF2B5EF4-FFF2-40B4-BE49-F238E27FC236}">
                <a16:creationId xmlns:a16="http://schemas.microsoft.com/office/drawing/2014/main" id="{D93AA356-C3F2-9A42-43B2-D30845B93B43}"/>
              </a:ext>
            </a:extLst>
          </p:cNvPr>
          <p:cNvGrpSpPr>
            <a:grpSpLocks/>
          </p:cNvGrpSpPr>
          <p:nvPr/>
        </p:nvGrpSpPr>
        <p:grpSpPr>
          <a:xfrm rot="13500000">
            <a:off x="233516" y="1758908"/>
            <a:ext cx="2319112" cy="1670846"/>
            <a:chOff x="7868453" y="1068870"/>
            <a:chExt cx="1975188" cy="1423060"/>
          </a:xfrm>
        </p:grpSpPr>
        <p:cxnSp>
          <p:nvCxnSpPr>
            <p:cNvPr id="29" name="Gerader Verbinder 36">
              <a:extLst>
                <a:ext uri="{FF2B5EF4-FFF2-40B4-BE49-F238E27FC236}">
                  <a16:creationId xmlns:a16="http://schemas.microsoft.com/office/drawing/2014/main" id="{696B125B-8872-FB75-3B72-72A45C30C0DE}"/>
                </a:ext>
              </a:extLst>
            </p:cNvPr>
            <p:cNvCxnSpPr>
              <a:cxnSpLocks/>
            </p:cNvCxnSpPr>
            <p:nvPr/>
          </p:nvCxnSpPr>
          <p:spPr>
            <a:xfrm rot="8100000" flipH="1" flipV="1">
              <a:off x="7868453" y="1068870"/>
              <a:ext cx="1423060" cy="1423060"/>
            </a:xfrm>
            <a:prstGeom prst="line">
              <a:avLst/>
            </a:prstGeom>
            <a:ln w="76200" cap="rnd">
              <a:solidFill>
                <a:schemeClr val="accent6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Parallelogramm 37">
              <a:extLst>
                <a:ext uri="{FF2B5EF4-FFF2-40B4-BE49-F238E27FC236}">
                  <a16:creationId xmlns:a16="http://schemas.microsoft.com/office/drawing/2014/main" id="{D24DAA6A-90C7-8E67-5F21-09DF20D7EDF2}"/>
                </a:ext>
              </a:extLst>
            </p:cNvPr>
            <p:cNvSpPr>
              <a:spLocks/>
            </p:cNvSpPr>
            <p:nvPr/>
          </p:nvSpPr>
          <p:spPr>
            <a:xfrm flipH="1">
              <a:off x="9362187" y="1781144"/>
              <a:ext cx="481454" cy="164760"/>
            </a:xfrm>
            <a:prstGeom prst="parallelogram">
              <a:avLst>
                <a:gd name="adj" fmla="val 56716"/>
              </a:avLst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" name="Parallelogramm 38">
              <a:extLst>
                <a:ext uri="{FF2B5EF4-FFF2-40B4-BE49-F238E27FC236}">
                  <a16:creationId xmlns:a16="http://schemas.microsoft.com/office/drawing/2014/main" id="{72C24CF8-CE2C-F3BF-CA67-79A8E46BEF1E}"/>
                </a:ext>
              </a:extLst>
            </p:cNvPr>
            <p:cNvSpPr>
              <a:spLocks/>
            </p:cNvSpPr>
            <p:nvPr/>
          </p:nvSpPr>
          <p:spPr>
            <a:xfrm flipH="1" flipV="1">
              <a:off x="9362187" y="1614895"/>
              <a:ext cx="481454" cy="164760"/>
            </a:xfrm>
            <a:prstGeom prst="parallelogram">
              <a:avLst>
                <a:gd name="adj" fmla="val 56716"/>
              </a:avLst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6DE8BD5B-9772-B2D4-3D73-77B02620395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480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goals, bullseye, icon, icons</a:t>
            </a:r>
          </a:p>
        </p:txBody>
      </p:sp>
    </p:spTree>
    <p:extLst>
      <p:ext uri="{BB962C8B-B14F-4D97-AF65-F5344CB8AC3E}">
        <p14:creationId xmlns:p14="http://schemas.microsoft.com/office/powerpoint/2010/main" val="2250857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</Words>
  <Application>Microsoft Office PowerPoint</Application>
  <PresentationFormat>宽屏</PresentationFormat>
  <Paragraphs>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47:01Z</dcterms:created>
  <dcterms:modified xsi:type="dcterms:W3CDTF">2025-09-04T05:47:45Z</dcterms:modified>
</cp:coreProperties>
</file>